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273" autoAdjust="0"/>
    <p:restoredTop sz="95948" autoAdjust="0"/>
  </p:normalViewPr>
  <p:slideViewPr>
    <p:cSldViewPr snapToGrid="0">
      <p:cViewPr varScale="1">
        <p:scale>
          <a:sx n="103" d="100"/>
          <a:sy n="103" d="100"/>
        </p:scale>
        <p:origin x="72" y="126"/>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11/26/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6/2018 8: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6/2018 8:0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11/26/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1/26/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521512"/>
          </a:xfrm>
        </p:spPr>
        <p:txBody>
          <a:bodyPr/>
          <a:lstStyle/>
          <a:p>
            <a:pPr marL="0" indent="0">
              <a:buNone/>
            </a:pPr>
            <a:r>
              <a:rPr lang="en-US" sz="3600" b="1" dirty="0"/>
              <a:t>Solution Overview</a:t>
            </a:r>
          </a:p>
          <a:p>
            <a:pPr lvl="1"/>
            <a:r>
              <a:rPr lang="en-US" sz="2800" dirty="0"/>
              <a:t>Azure IaaS</a:t>
            </a:r>
          </a:p>
          <a:p>
            <a:pPr lvl="1"/>
            <a:r>
              <a:rPr lang="en-US" sz="2800" dirty="0"/>
              <a:t>Azure Traffic Manager</a:t>
            </a:r>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descr="Diagram of the HA &amp; BCDR solution: Enterprise Applications preferred solution.&#10;&#10;Two VNETs are shown connected to each other using a VNET Peering.  Each of these VNETs are located in differnet Azure Regions.  There are three subnets for each of these networks.  WEB, DATA, AD.  There are two WEB VMs, two SQL VMS and one Domain Controller VM in the Primary Region.  In the Secondary Region there are two SQL VMs and two WEB VMs with red cross marks through them showing that they are offline.&#10;&#10;There is a on-premises location connected to the primary region using ExpressRoute.  A cloud representing the internet points to a traffic manager which is in front of both regions and connected to WEB VMs for the applciation.&#10;" title="Enterprise Applications">
            <a:extLst>
              <a:ext uri="{FF2B5EF4-FFF2-40B4-BE49-F238E27FC236}">
                <a16:creationId xmlns:a16="http://schemas.microsoft.com/office/drawing/2014/main" id="{CC12C14C-6C3E-4339-91B9-08C9E6F2A037}"/>
              </a:ext>
            </a:extLst>
          </p:cNvPr>
          <p:cNvGrpSpPr/>
          <p:nvPr/>
        </p:nvGrpSpPr>
        <p:grpSpPr>
          <a:xfrm>
            <a:off x="1274224" y="1428570"/>
            <a:ext cx="9986113" cy="5340559"/>
            <a:chOff x="1274224" y="1428570"/>
            <a:chExt cx="9986113" cy="5340559"/>
          </a:xfrm>
        </p:grpSpPr>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pic>
          <p:nvPicPr>
            <p:cNvPr id="3" name="Picture 2">
              <a:extLst>
                <a:ext uri="{FF2B5EF4-FFF2-40B4-BE49-F238E27FC236}">
                  <a16:creationId xmlns:a16="http://schemas.microsoft.com/office/drawing/2014/main" id="{B377D7FB-99CB-4DF4-B746-33605AD356C3}"/>
                </a:ext>
              </a:extLst>
            </p:cNvPr>
            <p:cNvPicPr>
              <a:picLocks noChangeAspect="1"/>
            </p:cNvPicPr>
            <p:nvPr/>
          </p:nvPicPr>
          <p:blipFill>
            <a:blip r:embed="rId4"/>
            <a:stretch>
              <a:fillRect/>
            </a:stretch>
          </p:blipFill>
          <p:spPr>
            <a:xfrm>
              <a:off x="4897287" y="3959994"/>
              <a:ext cx="1357210" cy="258890"/>
            </a:xfrm>
            <a:prstGeom prst="rect">
              <a:avLst/>
            </a:prstGeom>
          </p:spPr>
        </p:pic>
      </p:grpSp>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Diagram of the HA &amp; BCDR solution: Enterprise Applications preferred solution.&#10;&#10;A VNet in the primary region is shown connected to the on-premises network via a ExpressRoute. There are three subnets for each of these networks.  WEB, DATA, AD.  There are two WEB VMs, two SQL VMS and one Domain Controller VM in the Primary Region.  In the on-premises network theere &#10;&#10;A cloud representing the internet points to a traffic manager which is in front of both regions and connected to WEB VMs for the applciation. n the Secondary Region there are two SQL VMs and two WEB VMs with red cross marks through them showing that they are offline.&#10;&#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67</Words>
  <Application>Microsoft Office PowerPoint</Application>
  <PresentationFormat>Widescreen</PresentationFormat>
  <Paragraphs>309</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18-11-26T14:03:05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